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2"/>
  </p:notesMasterIdLst>
  <p:handoutMasterIdLst>
    <p:handoutMasterId r:id="rId13"/>
  </p:handoutMasterIdLst>
  <p:sldIdLst>
    <p:sldId id="291" r:id="rId4"/>
    <p:sldId id="264" r:id="rId5"/>
    <p:sldId id="296" r:id="rId6"/>
    <p:sldId id="300" r:id="rId7"/>
    <p:sldId id="301" r:id="rId8"/>
    <p:sldId id="303" r:id="rId9"/>
    <p:sldId id="304" r:id="rId10"/>
    <p:sldId id="273" r:id="rId11"/>
  </p:sldIdLst>
  <p:sldSz cx="12192000" cy="6858000"/>
  <p:notesSz cx="6858000" cy="9144000"/>
  <p:custDataLst>
    <p:tags r:id="rId1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999C"/>
    <a:srgbClr val="6D64CC"/>
    <a:srgbClr val="C7FF17"/>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F8DD2C2-825B-4E03-9C32-24AC4DAA642B}" v="27" dt="2021-09-28T04:38:08.8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759" autoAdjust="0"/>
  </p:normalViewPr>
  <p:slideViewPr>
    <p:cSldViewPr>
      <p:cViewPr varScale="1">
        <p:scale>
          <a:sx n="63" d="100"/>
          <a:sy n="63" d="100"/>
        </p:scale>
        <p:origin x="732" y="6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19" Type="http://schemas.microsoft.com/office/2016/11/relationships/changesInfo" Target="changesInfos/changesInfo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ndal, Jharna" userId="be719cc1-4150-4201-833c-e132fe0cffaf" providerId="ADAL" clId="{8F8DD2C2-825B-4E03-9C32-24AC4DAA642B}"/>
    <pc:docChg chg="custSel delSld modSld sldOrd">
      <pc:chgData name="Mondal, Jharna" userId="be719cc1-4150-4201-833c-e132fe0cffaf" providerId="ADAL" clId="{8F8DD2C2-825B-4E03-9C32-24AC4DAA642B}" dt="2021-09-28T04:38:23.281" v="1740" actId="14100"/>
      <pc:docMkLst>
        <pc:docMk/>
      </pc:docMkLst>
      <pc:sldChg chg="modSp">
        <pc:chgData name="Mondal, Jharna" userId="be719cc1-4150-4201-833c-e132fe0cffaf" providerId="ADAL" clId="{8F8DD2C2-825B-4E03-9C32-24AC4DAA642B}" dt="2021-09-28T03:59:51.903" v="62" actId="113"/>
        <pc:sldMkLst>
          <pc:docMk/>
          <pc:sldMk cId="0" sldId="264"/>
        </pc:sldMkLst>
        <pc:spChg chg="mod">
          <ac:chgData name="Mondal, Jharna" userId="be719cc1-4150-4201-833c-e132fe0cffaf" providerId="ADAL" clId="{8F8DD2C2-825B-4E03-9C32-24AC4DAA642B}" dt="2021-09-28T03:59:51.903" v="62" actId="113"/>
          <ac:spMkLst>
            <pc:docMk/>
            <pc:sldMk cId="0" sldId="264"/>
            <ac:spMk id="5" creationId="{00000000-0000-0000-0000-000000000000}"/>
          </ac:spMkLst>
        </pc:spChg>
      </pc:sldChg>
      <pc:sldChg chg="del">
        <pc:chgData name="Mondal, Jharna" userId="be719cc1-4150-4201-833c-e132fe0cffaf" providerId="ADAL" clId="{8F8DD2C2-825B-4E03-9C32-24AC4DAA642B}" dt="2021-09-28T03:59:12.700" v="3" actId="2696"/>
        <pc:sldMkLst>
          <pc:docMk/>
          <pc:sldMk cId="0" sldId="265"/>
        </pc:sldMkLst>
      </pc:sldChg>
      <pc:sldChg chg="modSp">
        <pc:chgData name="Mondal, Jharna" userId="be719cc1-4150-4201-833c-e132fe0cffaf" providerId="ADAL" clId="{8F8DD2C2-825B-4E03-9C32-24AC4DAA642B}" dt="2021-09-28T03:59:38.258" v="60" actId="20577"/>
        <pc:sldMkLst>
          <pc:docMk/>
          <pc:sldMk cId="1445110691" sldId="291"/>
        </pc:sldMkLst>
        <pc:spChg chg="mod">
          <ac:chgData name="Mondal, Jharna" userId="be719cc1-4150-4201-833c-e132fe0cffaf" providerId="ADAL" clId="{8F8DD2C2-825B-4E03-9C32-24AC4DAA642B}" dt="2021-09-28T03:59:38.258" v="60" actId="20577"/>
          <ac:spMkLst>
            <pc:docMk/>
            <pc:sldMk cId="1445110691" sldId="291"/>
            <ac:spMk id="3" creationId="{00000000-0000-0000-0000-000000000000}"/>
          </ac:spMkLst>
        </pc:spChg>
      </pc:sldChg>
      <pc:sldChg chg="del">
        <pc:chgData name="Mondal, Jharna" userId="be719cc1-4150-4201-833c-e132fe0cffaf" providerId="ADAL" clId="{8F8DD2C2-825B-4E03-9C32-24AC4DAA642B}" dt="2021-09-28T03:59:12.713" v="4" actId="2696"/>
        <pc:sldMkLst>
          <pc:docMk/>
          <pc:sldMk cId="435659363" sldId="295"/>
        </pc:sldMkLst>
      </pc:sldChg>
      <pc:sldChg chg="del">
        <pc:chgData name="Mondal, Jharna" userId="be719cc1-4150-4201-833c-e132fe0cffaf" providerId="ADAL" clId="{8F8DD2C2-825B-4E03-9C32-24AC4DAA642B}" dt="2021-09-28T03:59:07.506" v="0" actId="2696"/>
        <pc:sldMkLst>
          <pc:docMk/>
          <pc:sldMk cId="3545881290" sldId="297"/>
        </pc:sldMkLst>
      </pc:sldChg>
      <pc:sldChg chg="del">
        <pc:chgData name="Mondal, Jharna" userId="be719cc1-4150-4201-833c-e132fe0cffaf" providerId="ADAL" clId="{8F8DD2C2-825B-4E03-9C32-24AC4DAA642B}" dt="2021-09-28T03:59:07.545" v="2" actId="2696"/>
        <pc:sldMkLst>
          <pc:docMk/>
          <pc:sldMk cId="2364465597" sldId="298"/>
        </pc:sldMkLst>
      </pc:sldChg>
      <pc:sldChg chg="del">
        <pc:chgData name="Mondal, Jharna" userId="be719cc1-4150-4201-833c-e132fe0cffaf" providerId="ADAL" clId="{8F8DD2C2-825B-4E03-9C32-24AC4DAA642B}" dt="2021-09-28T03:59:07.516" v="1" actId="2696"/>
        <pc:sldMkLst>
          <pc:docMk/>
          <pc:sldMk cId="4230650063" sldId="299"/>
        </pc:sldMkLst>
      </pc:sldChg>
      <pc:sldChg chg="modSp">
        <pc:chgData name="Mondal, Jharna" userId="be719cc1-4150-4201-833c-e132fe0cffaf" providerId="ADAL" clId="{8F8DD2C2-825B-4E03-9C32-24AC4DAA642B}" dt="2021-09-28T04:03:06.205" v="249" actId="27636"/>
        <pc:sldMkLst>
          <pc:docMk/>
          <pc:sldMk cId="1872948169" sldId="301"/>
        </pc:sldMkLst>
        <pc:spChg chg="mod">
          <ac:chgData name="Mondal, Jharna" userId="be719cc1-4150-4201-833c-e132fe0cffaf" providerId="ADAL" clId="{8F8DD2C2-825B-4E03-9C32-24AC4DAA642B}" dt="2021-09-28T04:03:06.205" v="249" actId="27636"/>
          <ac:spMkLst>
            <pc:docMk/>
            <pc:sldMk cId="1872948169" sldId="301"/>
            <ac:spMk id="2" creationId="{46CD3834-40F6-41B3-B031-7B17D24C6B10}"/>
          </ac:spMkLst>
        </pc:spChg>
      </pc:sldChg>
      <pc:sldChg chg="delSp modSp del">
        <pc:chgData name="Mondal, Jharna" userId="be719cc1-4150-4201-833c-e132fe0cffaf" providerId="ADAL" clId="{8F8DD2C2-825B-4E03-9C32-24AC4DAA642B}" dt="2021-09-28T04:14:44.716" v="1714" actId="2696"/>
        <pc:sldMkLst>
          <pc:docMk/>
          <pc:sldMk cId="1392607878" sldId="302"/>
        </pc:sldMkLst>
        <pc:picChg chg="del">
          <ac:chgData name="Mondal, Jharna" userId="be719cc1-4150-4201-833c-e132fe0cffaf" providerId="ADAL" clId="{8F8DD2C2-825B-4E03-9C32-24AC4DAA642B}" dt="2021-09-28T04:03:26.681" v="250" actId="478"/>
          <ac:picMkLst>
            <pc:docMk/>
            <pc:sldMk cId="1392607878" sldId="302"/>
            <ac:picMk id="5" creationId="{15C1180B-3A2A-4044-9635-68E9D09AE358}"/>
          </ac:picMkLst>
        </pc:picChg>
        <pc:picChg chg="del mod">
          <ac:chgData name="Mondal, Jharna" userId="be719cc1-4150-4201-833c-e132fe0cffaf" providerId="ADAL" clId="{8F8DD2C2-825B-4E03-9C32-24AC4DAA642B}" dt="2021-09-28T04:11:58.967" v="1479"/>
          <ac:picMkLst>
            <pc:docMk/>
            <pc:sldMk cId="1392607878" sldId="302"/>
            <ac:picMk id="6" creationId="{04A2594E-A0A3-4887-B6CF-0BEFF50E8E42}"/>
          </ac:picMkLst>
        </pc:picChg>
      </pc:sldChg>
      <pc:sldChg chg="addSp delSp modSp ord">
        <pc:chgData name="Mondal, Jharna" userId="be719cc1-4150-4201-833c-e132fe0cffaf" providerId="ADAL" clId="{8F8DD2C2-825B-4E03-9C32-24AC4DAA642B}" dt="2021-09-28T04:16:19.686" v="1733" actId="255"/>
        <pc:sldMkLst>
          <pc:docMk/>
          <pc:sldMk cId="790964844" sldId="303"/>
        </pc:sldMkLst>
        <pc:spChg chg="mod">
          <ac:chgData name="Mondal, Jharna" userId="be719cc1-4150-4201-833c-e132fe0cffaf" providerId="ADAL" clId="{8F8DD2C2-825B-4E03-9C32-24AC4DAA642B}" dt="2021-09-28T04:16:19.686" v="1733" actId="255"/>
          <ac:spMkLst>
            <pc:docMk/>
            <pc:sldMk cId="790964844" sldId="303"/>
            <ac:spMk id="2" creationId="{46CD3834-40F6-41B3-B031-7B17D24C6B10}"/>
          </ac:spMkLst>
        </pc:spChg>
        <pc:spChg chg="mod">
          <ac:chgData name="Mondal, Jharna" userId="be719cc1-4150-4201-833c-e132fe0cffaf" providerId="ADAL" clId="{8F8DD2C2-825B-4E03-9C32-24AC4DAA642B}" dt="2021-09-28T04:15:14.459" v="1730" actId="20577"/>
          <ac:spMkLst>
            <pc:docMk/>
            <pc:sldMk cId="790964844" sldId="303"/>
            <ac:spMk id="4" creationId="{00000000-0000-0000-0000-000000000000}"/>
          </ac:spMkLst>
        </pc:spChg>
        <pc:picChg chg="add del mod">
          <ac:chgData name="Mondal, Jharna" userId="be719cc1-4150-4201-833c-e132fe0cffaf" providerId="ADAL" clId="{8F8DD2C2-825B-4E03-9C32-24AC4DAA642B}" dt="2021-09-28T04:14:02.602" v="1688" actId="478"/>
          <ac:picMkLst>
            <pc:docMk/>
            <pc:sldMk cId="790964844" sldId="303"/>
            <ac:picMk id="3" creationId="{BB090548-5151-465B-83FA-DEFE739654C3}"/>
          </ac:picMkLst>
        </pc:picChg>
        <pc:picChg chg="del mod">
          <ac:chgData name="Mondal, Jharna" userId="be719cc1-4150-4201-833c-e132fe0cffaf" providerId="ADAL" clId="{8F8DD2C2-825B-4E03-9C32-24AC4DAA642B}" dt="2021-09-28T04:09:32.510" v="1236" actId="478"/>
          <ac:picMkLst>
            <pc:docMk/>
            <pc:sldMk cId="790964844" sldId="303"/>
            <ac:picMk id="5" creationId="{5EB8A84F-3BAF-46FB-935A-A65A391D0312}"/>
          </ac:picMkLst>
        </pc:picChg>
        <pc:picChg chg="del mod">
          <ac:chgData name="Mondal, Jharna" userId="be719cc1-4150-4201-833c-e132fe0cffaf" providerId="ADAL" clId="{8F8DD2C2-825B-4E03-9C32-24AC4DAA642B}" dt="2021-09-28T04:10:56.525" v="1429" actId="478"/>
          <ac:picMkLst>
            <pc:docMk/>
            <pc:sldMk cId="790964844" sldId="303"/>
            <ac:picMk id="6" creationId="{A94F4888-DAD1-4C9B-9F18-26F9DB2AA140}"/>
          </ac:picMkLst>
        </pc:picChg>
      </pc:sldChg>
      <pc:sldChg chg="addSp delSp modSp">
        <pc:chgData name="Mondal, Jharna" userId="be719cc1-4150-4201-833c-e132fe0cffaf" providerId="ADAL" clId="{8F8DD2C2-825B-4E03-9C32-24AC4DAA642B}" dt="2021-09-28T04:38:23.281" v="1740" actId="14100"/>
        <pc:sldMkLst>
          <pc:docMk/>
          <pc:sldMk cId="2427858842" sldId="304"/>
        </pc:sldMkLst>
        <pc:spChg chg="mod">
          <ac:chgData name="Mondal, Jharna" userId="be719cc1-4150-4201-833c-e132fe0cffaf" providerId="ADAL" clId="{8F8DD2C2-825B-4E03-9C32-24AC4DAA642B}" dt="2021-09-28T04:08:01.006" v="1131" actId="113"/>
          <ac:spMkLst>
            <pc:docMk/>
            <pc:sldMk cId="2427858842" sldId="304"/>
            <ac:spMk id="2" creationId="{46CD3834-40F6-41B3-B031-7B17D24C6B10}"/>
          </ac:spMkLst>
        </pc:spChg>
        <pc:spChg chg="mod">
          <ac:chgData name="Mondal, Jharna" userId="be719cc1-4150-4201-833c-e132fe0cffaf" providerId="ADAL" clId="{8F8DD2C2-825B-4E03-9C32-24AC4DAA642B}" dt="2021-09-28T04:04:34.833" v="257" actId="20577"/>
          <ac:spMkLst>
            <pc:docMk/>
            <pc:sldMk cId="2427858842" sldId="304"/>
            <ac:spMk id="4" creationId="{00000000-0000-0000-0000-000000000000}"/>
          </ac:spMkLst>
        </pc:spChg>
        <pc:picChg chg="del">
          <ac:chgData name="Mondal, Jharna" userId="be719cc1-4150-4201-833c-e132fe0cffaf" providerId="ADAL" clId="{8F8DD2C2-825B-4E03-9C32-24AC4DAA642B}" dt="2021-09-28T04:26:26.051" v="1734" actId="478"/>
          <ac:picMkLst>
            <pc:docMk/>
            <pc:sldMk cId="2427858842" sldId="304"/>
            <ac:picMk id="3" creationId="{6EAFE357-6CED-4408-85A8-B91F7EBE993D}"/>
          </ac:picMkLst>
        </pc:picChg>
        <pc:picChg chg="del mod">
          <ac:chgData name="Mondal, Jharna" userId="be719cc1-4150-4201-833c-e132fe0cffaf" providerId="ADAL" clId="{8F8DD2C2-825B-4E03-9C32-24AC4DAA642B}" dt="2021-09-28T04:07:50.306" v="1129" actId="478"/>
          <ac:picMkLst>
            <pc:docMk/>
            <pc:sldMk cId="2427858842" sldId="304"/>
            <ac:picMk id="5" creationId="{13F65193-619B-4E21-9614-9941E252AC2C}"/>
          </ac:picMkLst>
        </pc:picChg>
        <pc:picChg chg="add del mod">
          <ac:chgData name="Mondal, Jharna" userId="be719cc1-4150-4201-833c-e132fe0cffaf" providerId="ADAL" clId="{8F8DD2C2-825B-4E03-9C32-24AC4DAA642B}" dt="2021-09-28T04:38:10.816" v="1738" actId="478"/>
          <ac:picMkLst>
            <pc:docMk/>
            <pc:sldMk cId="2427858842" sldId="304"/>
            <ac:picMk id="6" creationId="{790AFDA7-DBBD-43BA-91B8-4E06796E149C}"/>
          </ac:picMkLst>
        </pc:picChg>
        <pc:picChg chg="add mod">
          <ac:chgData name="Mondal, Jharna" userId="be719cc1-4150-4201-833c-e132fe0cffaf" providerId="ADAL" clId="{8F8DD2C2-825B-4E03-9C32-24AC4DAA642B}" dt="2021-09-28T04:38:23.281" v="1740" actId="14100"/>
          <ac:picMkLst>
            <pc:docMk/>
            <pc:sldMk cId="2427858842" sldId="304"/>
            <ac:picMk id="7" creationId="{666096BE-7B74-4F92-89B5-6020B0E699EE}"/>
          </ac:picMkLst>
        </pc:picChg>
      </pc:sldChg>
    </pc:docChg>
  </pc:docChgLst>
  <pc:docChgLst>
    <pc:chgData name="Mondal, Jharna" userId="be719cc1-4150-4201-833c-e132fe0cffaf" providerId="ADAL" clId="{1D081C52-E3BA-4C4B-A93A-678380AE84DC}"/>
    <pc:docChg chg="custSel addSld modSld">
      <pc:chgData name="Mondal, Jharna" userId="be719cc1-4150-4201-833c-e132fe0cffaf" providerId="ADAL" clId="{1D081C52-E3BA-4C4B-A93A-678380AE84DC}" dt="2021-09-27T16:12:53.578" v="186" actId="1076"/>
      <pc:docMkLst>
        <pc:docMk/>
      </pc:docMkLst>
      <pc:sldChg chg="modSp">
        <pc:chgData name="Mondal, Jharna" userId="be719cc1-4150-4201-833c-e132fe0cffaf" providerId="ADAL" clId="{1D081C52-E3BA-4C4B-A93A-678380AE84DC}" dt="2021-09-27T15:47:44.822" v="125" actId="948"/>
        <pc:sldMkLst>
          <pc:docMk/>
          <pc:sldMk cId="0" sldId="264"/>
        </pc:sldMkLst>
        <pc:spChg chg="mod">
          <ac:chgData name="Mondal, Jharna" userId="be719cc1-4150-4201-833c-e132fe0cffaf" providerId="ADAL" clId="{1D081C52-E3BA-4C4B-A93A-678380AE84DC}" dt="2021-09-27T11:57:15.864" v="25" actId="20577"/>
          <ac:spMkLst>
            <pc:docMk/>
            <pc:sldMk cId="0" sldId="264"/>
            <ac:spMk id="4" creationId="{00000000-0000-0000-0000-000000000000}"/>
          </ac:spMkLst>
        </pc:spChg>
        <pc:spChg chg="mod">
          <ac:chgData name="Mondal, Jharna" userId="be719cc1-4150-4201-833c-e132fe0cffaf" providerId="ADAL" clId="{1D081C52-E3BA-4C4B-A93A-678380AE84DC}" dt="2021-09-27T15:47:44.822" v="125" actId="948"/>
          <ac:spMkLst>
            <pc:docMk/>
            <pc:sldMk cId="0" sldId="264"/>
            <ac:spMk id="5" creationId="{00000000-0000-0000-0000-000000000000}"/>
          </ac:spMkLst>
        </pc:spChg>
      </pc:sldChg>
      <pc:sldChg chg="modSp">
        <pc:chgData name="Mondal, Jharna" userId="be719cc1-4150-4201-833c-e132fe0cffaf" providerId="ADAL" clId="{1D081C52-E3BA-4C4B-A93A-678380AE84DC}" dt="2021-09-27T15:47:03.001" v="123" actId="20577"/>
        <pc:sldMkLst>
          <pc:docMk/>
          <pc:sldMk cId="1468819217" sldId="296"/>
        </pc:sldMkLst>
        <pc:spChg chg="mod">
          <ac:chgData name="Mondal, Jharna" userId="be719cc1-4150-4201-833c-e132fe0cffaf" providerId="ADAL" clId="{1D081C52-E3BA-4C4B-A93A-678380AE84DC}" dt="2021-09-27T12:00:50.998" v="77" actId="20577"/>
          <ac:spMkLst>
            <pc:docMk/>
            <pc:sldMk cId="1468819217" sldId="296"/>
            <ac:spMk id="4" creationId="{00000000-0000-0000-0000-000000000000}"/>
          </ac:spMkLst>
        </pc:spChg>
        <pc:spChg chg="mod">
          <ac:chgData name="Mondal, Jharna" userId="be719cc1-4150-4201-833c-e132fe0cffaf" providerId="ADAL" clId="{1D081C52-E3BA-4C4B-A93A-678380AE84DC}" dt="2021-09-27T15:47:03.001" v="123" actId="20577"/>
          <ac:spMkLst>
            <pc:docMk/>
            <pc:sldMk cId="1468819217" sldId="296"/>
            <ac:spMk id="5" creationId="{00000000-0000-0000-0000-000000000000}"/>
          </ac:spMkLst>
        </pc:spChg>
      </pc:sldChg>
      <pc:sldChg chg="modSp add">
        <pc:chgData name="Mondal, Jharna" userId="be719cc1-4150-4201-833c-e132fe0cffaf" providerId="ADAL" clId="{1D081C52-E3BA-4C4B-A93A-678380AE84DC}" dt="2021-09-27T15:46:28.331" v="118" actId="20577"/>
        <pc:sldMkLst>
          <pc:docMk/>
          <pc:sldMk cId="46520480" sldId="300"/>
        </pc:sldMkLst>
        <pc:spChg chg="mod">
          <ac:chgData name="Mondal, Jharna" userId="be719cc1-4150-4201-833c-e132fe0cffaf" providerId="ADAL" clId="{1D081C52-E3BA-4C4B-A93A-678380AE84DC}" dt="2021-09-27T15:45:49.248" v="113" actId="20577"/>
          <ac:spMkLst>
            <pc:docMk/>
            <pc:sldMk cId="46520480" sldId="300"/>
            <ac:spMk id="4" creationId="{00000000-0000-0000-0000-000000000000}"/>
          </ac:spMkLst>
        </pc:spChg>
        <pc:spChg chg="mod">
          <ac:chgData name="Mondal, Jharna" userId="be719cc1-4150-4201-833c-e132fe0cffaf" providerId="ADAL" clId="{1D081C52-E3BA-4C4B-A93A-678380AE84DC}" dt="2021-09-27T15:46:28.331" v="118" actId="20577"/>
          <ac:spMkLst>
            <pc:docMk/>
            <pc:sldMk cId="46520480" sldId="300"/>
            <ac:spMk id="5" creationId="{00000000-0000-0000-0000-000000000000}"/>
          </ac:spMkLst>
        </pc:spChg>
      </pc:sldChg>
      <pc:sldChg chg="addSp delSp modSp add">
        <pc:chgData name="Mondal, Jharna" userId="be719cc1-4150-4201-833c-e132fe0cffaf" providerId="ADAL" clId="{1D081C52-E3BA-4C4B-A93A-678380AE84DC}" dt="2021-09-27T15:55:02.228" v="166" actId="20577"/>
        <pc:sldMkLst>
          <pc:docMk/>
          <pc:sldMk cId="1872948169" sldId="301"/>
        </pc:sldMkLst>
        <pc:spChg chg="add mod">
          <ac:chgData name="Mondal, Jharna" userId="be719cc1-4150-4201-833c-e132fe0cffaf" providerId="ADAL" clId="{1D081C52-E3BA-4C4B-A93A-678380AE84DC}" dt="2021-09-27T15:54:50.805" v="147" actId="20577"/>
          <ac:spMkLst>
            <pc:docMk/>
            <pc:sldMk cId="1872948169" sldId="301"/>
            <ac:spMk id="2" creationId="{46CD3834-40F6-41B3-B031-7B17D24C6B10}"/>
          </ac:spMkLst>
        </pc:spChg>
        <pc:spChg chg="mod">
          <ac:chgData name="Mondal, Jharna" userId="be719cc1-4150-4201-833c-e132fe0cffaf" providerId="ADAL" clId="{1D081C52-E3BA-4C4B-A93A-678380AE84DC}" dt="2021-09-27T15:55:02.228" v="166" actId="20577"/>
          <ac:spMkLst>
            <pc:docMk/>
            <pc:sldMk cId="1872948169" sldId="301"/>
            <ac:spMk id="4" creationId="{00000000-0000-0000-0000-000000000000}"/>
          </ac:spMkLst>
        </pc:spChg>
        <pc:spChg chg="del mod">
          <ac:chgData name="Mondal, Jharna" userId="be719cc1-4150-4201-833c-e132fe0cffaf" providerId="ADAL" clId="{1D081C52-E3BA-4C4B-A93A-678380AE84DC}" dt="2021-09-27T15:51:53.662" v="131"/>
          <ac:spMkLst>
            <pc:docMk/>
            <pc:sldMk cId="1872948169" sldId="301"/>
            <ac:spMk id="5" creationId="{00000000-0000-0000-0000-000000000000}"/>
          </ac:spMkLst>
        </pc:spChg>
        <pc:picChg chg="add mod">
          <ac:chgData name="Mondal, Jharna" userId="be719cc1-4150-4201-833c-e132fe0cffaf" providerId="ADAL" clId="{1D081C52-E3BA-4C4B-A93A-678380AE84DC}" dt="2021-09-27T15:54:37.234" v="146" actId="1076"/>
          <ac:picMkLst>
            <pc:docMk/>
            <pc:sldMk cId="1872948169" sldId="301"/>
            <ac:picMk id="3" creationId="{6EAFE357-6CED-4408-85A8-B91F7EBE993D}"/>
          </ac:picMkLst>
        </pc:picChg>
        <pc:picChg chg="add del mod">
          <ac:chgData name="Mondal, Jharna" userId="be719cc1-4150-4201-833c-e132fe0cffaf" providerId="ADAL" clId="{1D081C52-E3BA-4C4B-A93A-678380AE84DC}" dt="2021-09-27T15:51:53.662" v="131"/>
          <ac:picMkLst>
            <pc:docMk/>
            <pc:sldMk cId="1872948169" sldId="301"/>
            <ac:picMk id="65538" creationId="{710F574E-73AA-4108-B175-6E11FA40EEEA}"/>
          </ac:picMkLst>
        </pc:picChg>
      </pc:sldChg>
      <pc:sldChg chg="addSp delSp modSp add">
        <pc:chgData name="Mondal, Jharna" userId="be719cc1-4150-4201-833c-e132fe0cffaf" providerId="ADAL" clId="{1D081C52-E3BA-4C4B-A93A-678380AE84DC}" dt="2021-09-27T16:08:59.583" v="174" actId="1076"/>
        <pc:sldMkLst>
          <pc:docMk/>
          <pc:sldMk cId="1392607878" sldId="302"/>
        </pc:sldMkLst>
        <pc:spChg chg="mod">
          <ac:chgData name="Mondal, Jharna" userId="be719cc1-4150-4201-833c-e132fe0cffaf" providerId="ADAL" clId="{1D081C52-E3BA-4C4B-A93A-678380AE84DC}" dt="2021-09-27T16:07:22.825" v="170" actId="14100"/>
          <ac:spMkLst>
            <pc:docMk/>
            <pc:sldMk cId="1392607878" sldId="302"/>
            <ac:spMk id="2" creationId="{46CD3834-40F6-41B3-B031-7B17D24C6B10}"/>
          </ac:spMkLst>
        </pc:spChg>
        <pc:picChg chg="del">
          <ac:chgData name="Mondal, Jharna" userId="be719cc1-4150-4201-833c-e132fe0cffaf" providerId="ADAL" clId="{1D081C52-E3BA-4C4B-A93A-678380AE84DC}" dt="2021-09-27T16:07:17.228" v="168" actId="478"/>
          <ac:picMkLst>
            <pc:docMk/>
            <pc:sldMk cId="1392607878" sldId="302"/>
            <ac:picMk id="3" creationId="{6EAFE357-6CED-4408-85A8-B91F7EBE993D}"/>
          </ac:picMkLst>
        </pc:picChg>
        <pc:picChg chg="add mod">
          <ac:chgData name="Mondal, Jharna" userId="be719cc1-4150-4201-833c-e132fe0cffaf" providerId="ADAL" clId="{1D081C52-E3BA-4C4B-A93A-678380AE84DC}" dt="2021-09-27T16:08:02.921" v="172" actId="1076"/>
          <ac:picMkLst>
            <pc:docMk/>
            <pc:sldMk cId="1392607878" sldId="302"/>
            <ac:picMk id="5" creationId="{15C1180B-3A2A-4044-9635-68E9D09AE358}"/>
          </ac:picMkLst>
        </pc:picChg>
        <pc:picChg chg="add mod">
          <ac:chgData name="Mondal, Jharna" userId="be719cc1-4150-4201-833c-e132fe0cffaf" providerId="ADAL" clId="{1D081C52-E3BA-4C4B-A93A-678380AE84DC}" dt="2021-09-27T16:08:59.583" v="174" actId="1076"/>
          <ac:picMkLst>
            <pc:docMk/>
            <pc:sldMk cId="1392607878" sldId="302"/>
            <ac:picMk id="6" creationId="{04A2594E-A0A3-4887-B6CF-0BEFF50E8E42}"/>
          </ac:picMkLst>
        </pc:picChg>
      </pc:sldChg>
      <pc:sldChg chg="addSp delSp modSp add">
        <pc:chgData name="Mondal, Jharna" userId="be719cc1-4150-4201-833c-e132fe0cffaf" providerId="ADAL" clId="{1D081C52-E3BA-4C4B-A93A-678380AE84DC}" dt="2021-09-27T16:11:35.712" v="183" actId="1076"/>
        <pc:sldMkLst>
          <pc:docMk/>
          <pc:sldMk cId="790964844" sldId="303"/>
        </pc:sldMkLst>
        <pc:spChg chg="mod">
          <ac:chgData name="Mondal, Jharna" userId="be719cc1-4150-4201-833c-e132fe0cffaf" providerId="ADAL" clId="{1D081C52-E3BA-4C4B-A93A-678380AE84DC}" dt="2021-09-27T16:09:14.489" v="178" actId="14100"/>
          <ac:spMkLst>
            <pc:docMk/>
            <pc:sldMk cId="790964844" sldId="303"/>
            <ac:spMk id="2" creationId="{46CD3834-40F6-41B3-B031-7B17D24C6B10}"/>
          </ac:spMkLst>
        </pc:spChg>
        <pc:picChg chg="del">
          <ac:chgData name="Mondal, Jharna" userId="be719cc1-4150-4201-833c-e132fe0cffaf" providerId="ADAL" clId="{1D081C52-E3BA-4C4B-A93A-678380AE84DC}" dt="2021-09-27T16:09:11.534" v="177" actId="478"/>
          <ac:picMkLst>
            <pc:docMk/>
            <pc:sldMk cId="790964844" sldId="303"/>
            <ac:picMk id="3" creationId="{6EAFE357-6CED-4408-85A8-B91F7EBE993D}"/>
          </ac:picMkLst>
        </pc:picChg>
        <pc:picChg chg="add mod">
          <ac:chgData name="Mondal, Jharna" userId="be719cc1-4150-4201-833c-e132fe0cffaf" providerId="ADAL" clId="{1D081C52-E3BA-4C4B-A93A-678380AE84DC}" dt="2021-09-27T16:11:33.081" v="182" actId="1076"/>
          <ac:picMkLst>
            <pc:docMk/>
            <pc:sldMk cId="790964844" sldId="303"/>
            <ac:picMk id="5" creationId="{5EB8A84F-3BAF-46FB-935A-A65A391D0312}"/>
          </ac:picMkLst>
        </pc:picChg>
        <pc:picChg chg="add mod">
          <ac:chgData name="Mondal, Jharna" userId="be719cc1-4150-4201-833c-e132fe0cffaf" providerId="ADAL" clId="{1D081C52-E3BA-4C4B-A93A-678380AE84DC}" dt="2021-09-27T16:11:35.712" v="183" actId="1076"/>
          <ac:picMkLst>
            <pc:docMk/>
            <pc:sldMk cId="790964844" sldId="303"/>
            <ac:picMk id="6" creationId="{A94F4888-DAD1-4C9B-9F18-26F9DB2AA140}"/>
          </ac:picMkLst>
        </pc:picChg>
      </pc:sldChg>
      <pc:sldChg chg="addSp modSp add">
        <pc:chgData name="Mondal, Jharna" userId="be719cc1-4150-4201-833c-e132fe0cffaf" providerId="ADAL" clId="{1D081C52-E3BA-4C4B-A93A-678380AE84DC}" dt="2021-09-27T16:12:53.578" v="186" actId="1076"/>
        <pc:sldMkLst>
          <pc:docMk/>
          <pc:sldMk cId="2427858842" sldId="304"/>
        </pc:sldMkLst>
        <pc:picChg chg="add mod">
          <ac:chgData name="Mondal, Jharna" userId="be719cc1-4150-4201-833c-e132fe0cffaf" providerId="ADAL" clId="{1D081C52-E3BA-4C4B-A93A-678380AE84DC}" dt="2021-09-27T16:12:53.578" v="186" actId="1076"/>
          <ac:picMkLst>
            <pc:docMk/>
            <pc:sldMk cId="2427858842" sldId="304"/>
            <ac:picMk id="5" creationId="{13F65193-619B-4E21-9614-9941E252AC2C}"/>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8/09/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8/09/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pPr lvl="0"/>
            <a:r>
              <a:rPr lang="en-US" dirty="0"/>
              <a:t>HANA- Information Views</a:t>
            </a:r>
          </a:p>
        </p:txBody>
      </p:sp>
    </p:spTree>
    <p:extLst>
      <p:ext uri="{BB962C8B-B14F-4D97-AF65-F5344CB8AC3E}">
        <p14:creationId xmlns:p14="http://schemas.microsoft.com/office/powerpoint/2010/main" val="14451106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a:t>Attribute Views</a:t>
            </a:r>
          </a:p>
        </p:txBody>
      </p:sp>
      <p:sp>
        <p:nvSpPr>
          <p:cNvPr id="5" name="Text Placeholder 4"/>
          <p:cNvSpPr>
            <a:spLocks noGrp="1"/>
          </p:cNvSpPr>
          <p:nvPr>
            <p:ph type="body" sz="quarter" idx="10"/>
          </p:nvPr>
        </p:nvSpPr>
        <p:spPr>
          <a:xfrm>
            <a:off x="227348" y="1484784"/>
            <a:ext cx="11700000" cy="4796769"/>
          </a:xfrm>
        </p:spPr>
        <p:txBody>
          <a:bodyPr>
            <a:normAutofit/>
          </a:bodyPr>
          <a:lstStyle/>
          <a:p>
            <a:pPr marL="342900" indent="-342900">
              <a:lnSpc>
                <a:spcPct val="150000"/>
              </a:lnSpc>
              <a:buFont typeface="Arial" panose="020B0604020202020204" pitchFamily="34" charset="0"/>
              <a:buChar char="•"/>
            </a:pPr>
            <a:r>
              <a:rPr lang="en-IN" sz="1600" dirty="0"/>
              <a:t>In SAP HANA, Attribute Views are used to model characteristics. They are used to join Dimension tables or other Attribute Views. You can also copy a new Attribute View from the already existing Attribute Views inside other Packages, but that doesn't let you change the View Attributes.</a:t>
            </a:r>
          </a:p>
          <a:p>
            <a:pPr>
              <a:lnSpc>
                <a:spcPct val="150000"/>
              </a:lnSpc>
            </a:pPr>
            <a:r>
              <a:rPr lang="en-IN" sz="1600" b="1" dirty="0"/>
              <a:t>Following are the key characteristics of HANA Attribute view.</a:t>
            </a:r>
          </a:p>
          <a:p>
            <a:pPr marL="342900" indent="-342900">
              <a:lnSpc>
                <a:spcPct val="150000"/>
              </a:lnSpc>
              <a:buFont typeface="Arial" panose="020B0604020202020204" pitchFamily="34" charset="0"/>
              <a:buChar char="•"/>
            </a:pPr>
            <a:r>
              <a:rPr lang="en-IN" sz="1600" dirty="0"/>
              <a:t>Attribute Views are used in Analytical and Calculation Views for analysis to pass the master data.</a:t>
            </a:r>
          </a:p>
          <a:p>
            <a:pPr marL="342900" indent="-342900">
              <a:lnSpc>
                <a:spcPct val="150000"/>
              </a:lnSpc>
              <a:buFont typeface="Arial" panose="020B0604020202020204" pitchFamily="34" charset="0"/>
              <a:buChar char="•"/>
            </a:pPr>
            <a:r>
              <a:rPr lang="en-IN" sz="1600" dirty="0"/>
              <a:t>They are similar to characteristics in BM and contain the master data.</a:t>
            </a:r>
          </a:p>
          <a:p>
            <a:pPr marL="342900" indent="-342900">
              <a:lnSpc>
                <a:spcPct val="150000"/>
              </a:lnSpc>
              <a:buFont typeface="Arial" panose="020B0604020202020204" pitchFamily="34" charset="0"/>
              <a:buChar char="•"/>
            </a:pPr>
            <a:r>
              <a:rPr lang="en-IN" sz="1600" dirty="0"/>
              <a:t>Attribute Views are used for performance optimization in large size Dimension tables. You can limit the number of attributes in an Attribute View, which are further used for reporting and analysis purpose.</a:t>
            </a:r>
          </a:p>
          <a:p>
            <a:pPr marL="342900" indent="-342900">
              <a:lnSpc>
                <a:spcPct val="150000"/>
              </a:lnSpc>
              <a:buFont typeface="Arial" panose="020B0604020202020204" pitchFamily="34" charset="0"/>
              <a:buChar char="•"/>
            </a:pPr>
            <a:r>
              <a:rPr lang="en-IN" sz="1600" dirty="0"/>
              <a:t>Attribute Views are used to model the master data to give some context.</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Attribute View- Types</a:t>
            </a:r>
          </a:p>
        </p:txBody>
      </p:sp>
      <p:sp>
        <p:nvSpPr>
          <p:cNvPr id="5" name="Text Placeholder 4"/>
          <p:cNvSpPr>
            <a:spLocks noGrp="1"/>
          </p:cNvSpPr>
          <p:nvPr>
            <p:ph type="body" sz="quarter" idx="10"/>
          </p:nvPr>
        </p:nvSpPr>
        <p:spPr>
          <a:xfrm>
            <a:off x="227348" y="1556792"/>
            <a:ext cx="11700000" cy="4724761"/>
          </a:xfrm>
        </p:spPr>
        <p:txBody>
          <a:bodyPr/>
          <a:lstStyle/>
          <a:p>
            <a:r>
              <a:rPr lang="en-IN" sz="1600" dirty="0"/>
              <a:t> </a:t>
            </a:r>
            <a:r>
              <a:rPr lang="en-IN" sz="1600" b="1" dirty="0"/>
              <a:t>Following are the categories of Attribute View sub-type </a:t>
            </a:r>
            <a:r>
              <a:rPr lang="en-IN" sz="1600" dirty="0"/>
              <a:t>−</a:t>
            </a:r>
          </a:p>
          <a:p>
            <a:pPr marL="342900" indent="-342900">
              <a:buFont typeface="Arial" panose="020B0604020202020204" pitchFamily="34" charset="0"/>
              <a:buChar char="•"/>
            </a:pPr>
            <a:r>
              <a:rPr lang="en-IN" sz="1600" dirty="0"/>
              <a:t>Standard</a:t>
            </a:r>
          </a:p>
          <a:p>
            <a:pPr marL="342900" indent="-342900">
              <a:buFont typeface="Arial" panose="020B0604020202020204" pitchFamily="34" charset="0"/>
              <a:buChar char="•"/>
            </a:pPr>
            <a:r>
              <a:rPr lang="en-IN" sz="1600" dirty="0"/>
              <a:t>Time</a:t>
            </a:r>
          </a:p>
          <a:p>
            <a:pPr marL="342900" indent="-342900">
              <a:buFont typeface="Arial" panose="020B0604020202020204" pitchFamily="34" charset="0"/>
              <a:buChar char="•"/>
            </a:pPr>
            <a:r>
              <a:rPr lang="en-IN" sz="1600" dirty="0"/>
              <a:t>Derived</a:t>
            </a:r>
          </a:p>
          <a:p>
            <a:endParaRPr lang="en-IN" sz="1600" dirty="0"/>
          </a:p>
          <a:p>
            <a:r>
              <a:rPr lang="en-IN" sz="1600" dirty="0"/>
              <a:t>Time sub-type Attribute View is a special type of Attribute view that adds a Time  Dimension to Data Foundation. When you enter the Attribute name, type, and sub-type   and click Finish, </a:t>
            </a:r>
          </a:p>
          <a:p>
            <a:r>
              <a:rPr lang="en-IN" sz="1600" dirty="0"/>
              <a:t>it will open three work panes −</a:t>
            </a:r>
          </a:p>
          <a:p>
            <a:pPr marL="342900" indent="-342900">
              <a:buFont typeface="Arial" panose="020B0604020202020204" pitchFamily="34" charset="0"/>
              <a:buChar char="•"/>
            </a:pPr>
            <a:r>
              <a:rPr lang="en-IN" sz="1600" dirty="0"/>
              <a:t>Scenario pane that has Data Foundation and Semantic Layer.</a:t>
            </a:r>
          </a:p>
          <a:p>
            <a:pPr marL="342900" indent="-342900">
              <a:buFont typeface="Arial" panose="020B0604020202020204" pitchFamily="34" charset="0"/>
              <a:buChar char="•"/>
            </a:pPr>
            <a:r>
              <a:rPr lang="en-IN" sz="1600" dirty="0"/>
              <a:t>Details pane that shows the attribute of all tables added to Data Foundation and joining between them.</a:t>
            </a:r>
          </a:p>
          <a:p>
            <a:pPr marL="342900" indent="-342900">
              <a:buFont typeface="Arial" panose="020B0604020202020204" pitchFamily="34" charset="0"/>
              <a:buChar char="•"/>
            </a:pPr>
            <a:r>
              <a:rPr lang="en-IN" sz="1600" dirty="0"/>
              <a:t>Output pane where you can add attributes from the Detail pane to filter in the report.</a:t>
            </a:r>
          </a:p>
          <a:p>
            <a:endParaRPr lang="en-US" sz="1200" dirty="0"/>
          </a:p>
        </p:txBody>
      </p:sp>
    </p:spTree>
    <p:extLst>
      <p:ext uri="{BB962C8B-B14F-4D97-AF65-F5344CB8AC3E}">
        <p14:creationId xmlns:p14="http://schemas.microsoft.com/office/powerpoint/2010/main" val="14688192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Analytic View</a:t>
            </a:r>
          </a:p>
        </p:txBody>
      </p:sp>
      <p:sp>
        <p:nvSpPr>
          <p:cNvPr id="5" name="Text Placeholder 4"/>
          <p:cNvSpPr>
            <a:spLocks noGrp="1"/>
          </p:cNvSpPr>
          <p:nvPr>
            <p:ph type="body" sz="quarter" idx="10"/>
          </p:nvPr>
        </p:nvSpPr>
        <p:spPr>
          <a:xfrm>
            <a:off x="227348" y="1104900"/>
            <a:ext cx="11700000" cy="5176653"/>
          </a:xfrm>
        </p:spPr>
        <p:txBody>
          <a:bodyPr/>
          <a:lstStyle/>
          <a:p>
            <a:r>
              <a:rPr lang="en-IN" sz="1600" dirty="0"/>
              <a:t>Analytic View is in the form of Star schema, wherein we join one Fact table to multiple Dimension tables. </a:t>
            </a:r>
          </a:p>
          <a:p>
            <a:endParaRPr lang="en-IN" sz="1600" dirty="0"/>
          </a:p>
          <a:p>
            <a:r>
              <a:rPr lang="en-IN" sz="1600" dirty="0"/>
              <a:t>Analytic views use real power of SAP HANA to perform complex calculations and aggregate functions by joining tables in the form of Star schema and by executing Star schema queries</a:t>
            </a:r>
          </a:p>
          <a:p>
            <a:endParaRPr lang="en-IN" sz="1600" dirty="0"/>
          </a:p>
          <a:p>
            <a:r>
              <a:rPr lang="en-IN" dirty="0"/>
              <a:t> </a:t>
            </a:r>
            <a:r>
              <a:rPr lang="en-IN" b="1" dirty="0"/>
              <a:t>Key characteristics of SAP HANA Analytic View </a:t>
            </a:r>
            <a:r>
              <a:rPr lang="en-IN" dirty="0"/>
              <a:t>−</a:t>
            </a:r>
          </a:p>
          <a:p>
            <a:endParaRPr lang="en-IN" dirty="0"/>
          </a:p>
          <a:p>
            <a:pPr marL="342900" indent="-342900">
              <a:buFont typeface="Arial" panose="020B0604020202020204" pitchFamily="34" charset="0"/>
              <a:buChar char="•"/>
            </a:pPr>
            <a:r>
              <a:rPr lang="en-IN" sz="1600" dirty="0"/>
              <a:t>Analytic Views are used to perform complex calculations and Aggregate functions such as Sum, Count, Min, Max, etc.</a:t>
            </a:r>
          </a:p>
          <a:p>
            <a:pPr marL="342900" indent="-342900">
              <a:buFont typeface="Arial" panose="020B0604020202020204" pitchFamily="34" charset="0"/>
              <a:buChar char="•"/>
            </a:pPr>
            <a:r>
              <a:rPr lang="en-IN" sz="1600" dirty="0"/>
              <a:t>Analytic Views are designed to run Star schema queries.</a:t>
            </a:r>
          </a:p>
          <a:p>
            <a:pPr marL="342900" indent="-342900">
              <a:buFont typeface="Arial" panose="020B0604020202020204" pitchFamily="34" charset="0"/>
              <a:buChar char="•"/>
            </a:pPr>
            <a:r>
              <a:rPr lang="en-IN" sz="1600" dirty="0"/>
              <a:t>Each Analytic View has one Fact table surrounded by multiple dimension tables. Fact table contains a primary key for each Dim table and measures.</a:t>
            </a:r>
          </a:p>
          <a:p>
            <a:pPr marL="342900" indent="-342900">
              <a:buFont typeface="Arial" panose="020B0604020202020204" pitchFamily="34" charset="0"/>
              <a:buChar char="•"/>
            </a:pPr>
            <a:r>
              <a:rPr lang="en-IN" sz="1600" dirty="0"/>
              <a:t>Analytic Views are similar to Info Objects and Info sets of SAP BW.</a:t>
            </a:r>
          </a:p>
          <a:p>
            <a:pPr marL="342900" indent="-342900">
              <a:buFont typeface="Arial" panose="020B0604020202020204" pitchFamily="34" charset="0"/>
              <a:buChar char="•"/>
            </a:pPr>
            <a:r>
              <a:rPr lang="en-IN" sz="1600" dirty="0"/>
              <a:t>SAP BusinessObjects reporting tools can connect to Analytic view using an OLAP connection for reporting and dashboard.</a:t>
            </a:r>
          </a:p>
          <a:p>
            <a:endParaRPr lang="en-US" sz="1200" dirty="0"/>
          </a:p>
        </p:txBody>
      </p:sp>
    </p:spTree>
    <p:extLst>
      <p:ext uri="{BB962C8B-B14F-4D97-AF65-F5344CB8AC3E}">
        <p14:creationId xmlns:p14="http://schemas.microsoft.com/office/powerpoint/2010/main" val="465204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Calculation View</a:t>
            </a:r>
          </a:p>
        </p:txBody>
      </p:sp>
      <p:sp>
        <p:nvSpPr>
          <p:cNvPr id="2" name="Text Placeholder 1">
            <a:extLst>
              <a:ext uri="{FF2B5EF4-FFF2-40B4-BE49-F238E27FC236}">
                <a16:creationId xmlns:a16="http://schemas.microsoft.com/office/drawing/2014/main" id="{46CD3834-40F6-41B3-B031-7B17D24C6B10}"/>
              </a:ext>
            </a:extLst>
          </p:cNvPr>
          <p:cNvSpPr>
            <a:spLocks noGrp="1"/>
          </p:cNvSpPr>
          <p:nvPr>
            <p:ph type="body" sz="quarter" idx="10"/>
          </p:nvPr>
        </p:nvSpPr>
        <p:spPr>
          <a:xfrm>
            <a:off x="227348" y="1556792"/>
            <a:ext cx="5868652" cy="4724761"/>
          </a:xfrm>
        </p:spPr>
        <p:txBody>
          <a:bodyPr>
            <a:normAutofit/>
          </a:bodyPr>
          <a:lstStyle/>
          <a:p>
            <a:r>
              <a:rPr lang="en-IN" sz="1600" dirty="0"/>
              <a:t>Calculation views are used to perform complex calculations, which are not possible with Attribute or Analytic view. </a:t>
            </a:r>
          </a:p>
          <a:p>
            <a:r>
              <a:rPr lang="en-IN" sz="1600" dirty="0"/>
              <a:t>You can also use Attribute and Analytic views while designing Calculation views.</a:t>
            </a:r>
          </a:p>
          <a:p>
            <a:r>
              <a:rPr lang="en-IN" sz="1600" dirty="0"/>
              <a:t>Calculation view types −</a:t>
            </a:r>
          </a:p>
          <a:p>
            <a:pPr marL="342900" indent="-342900">
              <a:buAutoNum type="arabicPeriod"/>
            </a:pPr>
            <a:r>
              <a:rPr lang="en-IN" sz="1600" b="1" dirty="0"/>
              <a:t>Standard</a:t>
            </a:r>
          </a:p>
          <a:p>
            <a:r>
              <a:rPr lang="en-IN" sz="1400" b="1" dirty="0"/>
              <a:t>Cube</a:t>
            </a:r>
            <a:r>
              <a:rPr lang="en-IN" sz="1400" dirty="0"/>
              <a:t> </a:t>
            </a:r>
            <a:r>
              <a:rPr lang="en-IN" sz="1600" dirty="0"/>
              <a:t>− When a user selects Cube as data category, the default node is Aggregation. You can choose Star Join with Cube dimension.</a:t>
            </a:r>
          </a:p>
          <a:p>
            <a:r>
              <a:rPr lang="en-IN" sz="1400" b="1" dirty="0"/>
              <a:t>Dimension</a:t>
            </a:r>
            <a:r>
              <a:rPr lang="en-IN" sz="1600" dirty="0"/>
              <a:t> − When a user selects Dimension as data category, the default node is Projection.</a:t>
            </a:r>
            <a:br>
              <a:rPr lang="en-IN" sz="1600" dirty="0"/>
            </a:br>
            <a:r>
              <a:rPr lang="en-IN" sz="1400" b="1" dirty="0"/>
              <a:t>SQL Script Based</a:t>
            </a:r>
          </a:p>
          <a:p>
            <a:r>
              <a:rPr lang="en-IN" sz="1600" b="1" dirty="0"/>
              <a:t>2. Time Based</a:t>
            </a:r>
          </a:p>
          <a:p>
            <a:r>
              <a:rPr lang="en-IN" sz="1400" b="1" dirty="0"/>
              <a:t>Gregorian</a:t>
            </a:r>
          </a:p>
          <a:p>
            <a:r>
              <a:rPr lang="en-IN" sz="1400" b="1" dirty="0"/>
              <a:t>Fiscal</a:t>
            </a:r>
          </a:p>
          <a:p>
            <a:endParaRPr lang="en-IN" dirty="0"/>
          </a:p>
        </p:txBody>
      </p:sp>
      <p:pic>
        <p:nvPicPr>
          <p:cNvPr id="3" name="Picture 2">
            <a:extLst>
              <a:ext uri="{FF2B5EF4-FFF2-40B4-BE49-F238E27FC236}">
                <a16:creationId xmlns:a16="http://schemas.microsoft.com/office/drawing/2014/main" id="{6EAFE357-6CED-4408-85A8-B91F7EBE993D}"/>
              </a:ext>
            </a:extLst>
          </p:cNvPr>
          <p:cNvPicPr>
            <a:picLocks noChangeAspect="1"/>
          </p:cNvPicPr>
          <p:nvPr/>
        </p:nvPicPr>
        <p:blipFill>
          <a:blip r:embed="rId2"/>
          <a:stretch>
            <a:fillRect/>
          </a:stretch>
        </p:blipFill>
        <p:spPr>
          <a:xfrm>
            <a:off x="3071664" y="837975"/>
            <a:ext cx="11665838" cy="5182049"/>
          </a:xfrm>
          <a:prstGeom prst="rect">
            <a:avLst/>
          </a:prstGeom>
        </p:spPr>
      </p:pic>
    </p:spTree>
    <p:extLst>
      <p:ext uri="{BB962C8B-B14F-4D97-AF65-F5344CB8AC3E}">
        <p14:creationId xmlns:p14="http://schemas.microsoft.com/office/powerpoint/2010/main" val="18729481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Calculation View- Standard</a:t>
            </a:r>
          </a:p>
        </p:txBody>
      </p:sp>
      <p:sp>
        <p:nvSpPr>
          <p:cNvPr id="2" name="Text Placeholder 1">
            <a:extLst>
              <a:ext uri="{FF2B5EF4-FFF2-40B4-BE49-F238E27FC236}">
                <a16:creationId xmlns:a16="http://schemas.microsoft.com/office/drawing/2014/main" id="{46CD3834-40F6-41B3-B031-7B17D24C6B10}"/>
              </a:ext>
            </a:extLst>
          </p:cNvPr>
          <p:cNvSpPr>
            <a:spLocks noGrp="1"/>
          </p:cNvSpPr>
          <p:nvPr>
            <p:ph type="body" sz="quarter" idx="10"/>
          </p:nvPr>
        </p:nvSpPr>
        <p:spPr>
          <a:xfrm>
            <a:off x="227348" y="1268760"/>
            <a:ext cx="10837204" cy="5012793"/>
          </a:xfrm>
        </p:spPr>
        <p:txBody>
          <a:bodyPr>
            <a:normAutofit/>
          </a:bodyPr>
          <a:lstStyle/>
          <a:p>
            <a:r>
              <a:rPr lang="en-IN" b="1" dirty="0"/>
              <a:t>Dimension Calculation View</a:t>
            </a:r>
          </a:p>
          <a:p>
            <a:r>
              <a:rPr lang="en-IN" sz="1400" dirty="0"/>
              <a:t>1</a:t>
            </a:r>
            <a:r>
              <a:rPr lang="en-IN" sz="1600" dirty="0"/>
              <a:t>. Default view is projection</a:t>
            </a:r>
          </a:p>
          <a:p>
            <a:r>
              <a:rPr lang="en-IN" sz="1600" dirty="0"/>
              <a:t>2. Is used to expose master data</a:t>
            </a:r>
          </a:p>
          <a:p>
            <a:r>
              <a:rPr lang="en-IN" sz="1600" dirty="0"/>
              <a:t>3. Cannot create measures using dimension views</a:t>
            </a:r>
          </a:p>
          <a:p>
            <a:r>
              <a:rPr lang="en-IN" sz="1600" dirty="0"/>
              <a:t>4. If you add any numeric column in the dimension view, it will be considered as an attribute</a:t>
            </a:r>
          </a:p>
          <a:p>
            <a:endParaRPr lang="en-IN" sz="1400" dirty="0"/>
          </a:p>
          <a:p>
            <a:r>
              <a:rPr lang="en-IN" b="1" dirty="0"/>
              <a:t>Cube Calculation view</a:t>
            </a:r>
          </a:p>
          <a:p>
            <a:pPr marL="457200" indent="-457200">
              <a:buAutoNum type="arabicPeriod"/>
            </a:pPr>
            <a:r>
              <a:rPr lang="en-IN" sz="1600" dirty="0"/>
              <a:t>Default view is Aggregation.</a:t>
            </a:r>
          </a:p>
          <a:p>
            <a:pPr marL="457200" indent="-457200">
              <a:buAutoNum type="arabicPeriod"/>
            </a:pPr>
            <a:r>
              <a:rPr lang="en-IN" sz="1600" dirty="0"/>
              <a:t>Is used to expose attribute and measures</a:t>
            </a:r>
          </a:p>
          <a:p>
            <a:pPr marL="457200" indent="-457200">
              <a:buAutoNum type="arabicPeriod"/>
            </a:pPr>
            <a:endParaRPr lang="en-IN" dirty="0"/>
          </a:p>
          <a:p>
            <a:r>
              <a:rPr lang="en-IN" b="1" dirty="0"/>
              <a:t>Cube with Star Join</a:t>
            </a:r>
          </a:p>
          <a:p>
            <a:pPr marL="457200" indent="-457200">
              <a:buAutoNum type="arabicPeriod"/>
            </a:pPr>
            <a:r>
              <a:rPr lang="en-IN" sz="1600" dirty="0"/>
              <a:t>Default node is star join</a:t>
            </a:r>
          </a:p>
          <a:p>
            <a:pPr marL="457200" indent="-457200">
              <a:buAutoNum type="arabicPeriod"/>
            </a:pPr>
            <a:r>
              <a:rPr lang="en-IN" sz="1600" dirty="0"/>
              <a:t>It is an extension to cube dimension cube</a:t>
            </a:r>
          </a:p>
          <a:p>
            <a:pPr marL="457200" indent="-457200">
              <a:buAutoNum type="arabicPeriod"/>
            </a:pPr>
            <a:r>
              <a:rPr lang="en-IN" sz="1600" dirty="0"/>
              <a:t>It follows star join concept like one fact table and multiple dimension table</a:t>
            </a:r>
          </a:p>
        </p:txBody>
      </p:sp>
    </p:spTree>
    <p:extLst>
      <p:ext uri="{BB962C8B-B14F-4D97-AF65-F5344CB8AC3E}">
        <p14:creationId xmlns:p14="http://schemas.microsoft.com/office/powerpoint/2010/main" val="7909648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Time Calculation View</a:t>
            </a:r>
          </a:p>
        </p:txBody>
      </p:sp>
      <p:sp>
        <p:nvSpPr>
          <p:cNvPr id="2" name="Text Placeholder 1">
            <a:extLst>
              <a:ext uri="{FF2B5EF4-FFF2-40B4-BE49-F238E27FC236}">
                <a16:creationId xmlns:a16="http://schemas.microsoft.com/office/drawing/2014/main" id="{46CD3834-40F6-41B3-B031-7B17D24C6B10}"/>
              </a:ext>
            </a:extLst>
          </p:cNvPr>
          <p:cNvSpPr>
            <a:spLocks noGrp="1"/>
          </p:cNvSpPr>
          <p:nvPr>
            <p:ph type="body" sz="quarter" idx="10"/>
          </p:nvPr>
        </p:nvSpPr>
        <p:spPr>
          <a:xfrm>
            <a:off x="227348" y="1556792"/>
            <a:ext cx="5868652" cy="4724761"/>
          </a:xfrm>
        </p:spPr>
        <p:txBody>
          <a:bodyPr/>
          <a:lstStyle/>
          <a:p>
            <a:r>
              <a:rPr lang="en-IN" sz="1600" dirty="0"/>
              <a:t> 1. </a:t>
            </a:r>
            <a:r>
              <a:rPr lang="en-IN" sz="1600" b="1" dirty="0"/>
              <a:t>Gregorian</a:t>
            </a:r>
            <a:r>
              <a:rPr lang="en-IN" sz="1600" dirty="0"/>
              <a:t> – It has granularity like calendar year , month and even further to hours and minutes and seconds.</a:t>
            </a:r>
          </a:p>
          <a:p>
            <a:r>
              <a:rPr lang="en-IN" sz="1600" dirty="0"/>
              <a:t>2. </a:t>
            </a:r>
            <a:r>
              <a:rPr lang="en-IN" sz="1600" b="1" dirty="0"/>
              <a:t>Fiscal</a:t>
            </a:r>
            <a:r>
              <a:rPr lang="en-IN" sz="1600" dirty="0"/>
              <a:t> –It has granularity as fiscal year and fiscal variant</a:t>
            </a:r>
          </a:p>
          <a:p>
            <a:endParaRPr lang="en-IN" sz="1600" dirty="0"/>
          </a:p>
          <a:p>
            <a:r>
              <a:rPr lang="en-IN" sz="1600" dirty="0"/>
              <a:t>Both are related to time-based calculation view where data is related to time</a:t>
            </a:r>
          </a:p>
          <a:p>
            <a:r>
              <a:rPr lang="en-IN" sz="1600" dirty="0"/>
              <a:t>It is used to define measure based on different calendar days</a:t>
            </a:r>
          </a:p>
          <a:p>
            <a:endParaRPr lang="en-IN" dirty="0"/>
          </a:p>
        </p:txBody>
      </p:sp>
      <p:pic>
        <p:nvPicPr>
          <p:cNvPr id="7" name="Picture 6">
            <a:extLst>
              <a:ext uri="{FF2B5EF4-FFF2-40B4-BE49-F238E27FC236}">
                <a16:creationId xmlns:a16="http://schemas.microsoft.com/office/drawing/2014/main" id="{666096BE-7B74-4F92-89B5-6020B0E699EE}"/>
              </a:ext>
            </a:extLst>
          </p:cNvPr>
          <p:cNvPicPr>
            <a:picLocks noChangeAspect="1"/>
          </p:cNvPicPr>
          <p:nvPr/>
        </p:nvPicPr>
        <p:blipFill>
          <a:blip r:embed="rId2"/>
          <a:stretch>
            <a:fillRect/>
          </a:stretch>
        </p:blipFill>
        <p:spPr>
          <a:xfrm>
            <a:off x="6312024" y="980728"/>
            <a:ext cx="5343525" cy="5647953"/>
          </a:xfrm>
          <a:prstGeom prst="rect">
            <a:avLst/>
          </a:prstGeom>
        </p:spPr>
      </p:pic>
    </p:spTree>
    <p:extLst>
      <p:ext uri="{BB962C8B-B14F-4D97-AF65-F5344CB8AC3E}">
        <p14:creationId xmlns:p14="http://schemas.microsoft.com/office/powerpoint/2010/main" val="24278588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636</TotalTime>
  <Words>650</Words>
  <Application>Microsoft Office PowerPoint</Application>
  <PresentationFormat>Widescreen</PresentationFormat>
  <Paragraphs>62</Paragraphs>
  <Slides>8</Slides>
  <Notes>0</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5" baseType="lpstr">
      <vt:lpstr>Arial</vt:lpstr>
      <vt:lpstr>Verdana</vt:lpstr>
      <vt:lpstr>Wingdings</vt:lpstr>
      <vt:lpstr>Capgemini Master</vt:lpstr>
      <vt:lpstr>Cover options</vt:lpstr>
      <vt:lpstr>Final slides</vt:lpstr>
      <vt:lpstr>think-cell Slide</vt:lpstr>
      <vt:lpstr>HANA- Information Views</vt:lpstr>
      <vt:lpstr>Attribute Views</vt:lpstr>
      <vt:lpstr>Attribute View- Types</vt:lpstr>
      <vt:lpstr>Analytic View</vt:lpstr>
      <vt:lpstr>Calculation View</vt:lpstr>
      <vt:lpstr>Calculation View- Standard</vt:lpstr>
      <vt:lpstr>Time Calculation View</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subject>ppt template</dc:subject>
  <dc:creator>Ghosh, Debopriya</dc:creator>
  <cp:lastModifiedBy>Mondal, Jharna</cp:lastModifiedBy>
  <cp:revision>10</cp:revision>
  <dcterms:created xsi:type="dcterms:W3CDTF">2020-12-21T06:25:03Z</dcterms:created>
  <dcterms:modified xsi:type="dcterms:W3CDTF">2021-09-28T04:38:30Z</dcterms:modified>
</cp:coreProperties>
</file>